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38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D$2:$D$246</c:f>
              <c:numCache>
                <c:formatCode>#,##0</c:formatCode>
                <c:ptCount val="245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5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30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8</c:v>
                </c:pt>
                <c:pt idx="192">
                  <c:v>928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8</c:v>
                </c:pt>
                <c:pt idx="197">
                  <c:v>926</c:v>
                </c:pt>
                <c:pt idx="198">
                  <c:v>951</c:v>
                </c:pt>
                <c:pt idx="199">
                  <c:v>942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1</c:v>
                </c:pt>
                <c:pt idx="209">
                  <c:v>865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4</c:v>
                </c:pt>
                <c:pt idx="227">
                  <c:v>517</c:v>
                </c:pt>
                <c:pt idx="228">
                  <c:v>490</c:v>
                </c:pt>
                <c:pt idx="229">
                  <c:v>496</c:v>
                </c:pt>
                <c:pt idx="230">
                  <c:v>492</c:v>
                </c:pt>
                <c:pt idx="231">
                  <c:v>476</c:v>
                </c:pt>
                <c:pt idx="232">
                  <c:v>465</c:v>
                </c:pt>
                <c:pt idx="233">
                  <c:v>416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4</c:v>
                </c:pt>
                <c:pt idx="239">
                  <c:v>329</c:v>
                </c:pt>
                <c:pt idx="240">
                  <c:v>295</c:v>
                </c:pt>
                <c:pt idx="241">
                  <c:v>267</c:v>
                </c:pt>
                <c:pt idx="242">
                  <c:v>248</c:v>
                </c:pt>
                <c:pt idx="243" formatCode="General">
                  <c:v>254</c:v>
                </c:pt>
                <c:pt idx="244" formatCode="General">
                  <c:v>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64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B$2:$B$246</c:f>
              <c:numCache>
                <c:formatCode>#,##0</c:formatCode>
                <c:ptCount val="245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  <c:pt idx="244" formatCode="General">
                  <c:v>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C$2:$C$246</c:f>
              <c:numCache>
                <c:formatCode>#,##0</c:formatCode>
                <c:ptCount val="24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D$2:$D$246</c:f>
              <c:numCache>
                <c:formatCode>#,##0</c:formatCode>
                <c:ptCount val="245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59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0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2</c:v>
                </c:pt>
                <c:pt idx="140">
                  <c:v>2640</c:v>
                </c:pt>
                <c:pt idx="141">
                  <c:v>2595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4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5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39</c:v>
                </c:pt>
                <c:pt idx="207">
                  <c:v>3356</c:v>
                </c:pt>
                <c:pt idx="208">
                  <c:v>3386</c:v>
                </c:pt>
                <c:pt idx="209">
                  <c:v>3358</c:v>
                </c:pt>
                <c:pt idx="210">
                  <c:v>3284</c:v>
                </c:pt>
                <c:pt idx="211">
                  <c:v>3148</c:v>
                </c:pt>
                <c:pt idx="212">
                  <c:v>2999</c:v>
                </c:pt>
                <c:pt idx="213">
                  <c:v>2815</c:v>
                </c:pt>
                <c:pt idx="214">
                  <c:v>2772</c:v>
                </c:pt>
                <c:pt idx="215">
                  <c:v>2832</c:v>
                </c:pt>
                <c:pt idx="216">
                  <c:v>2845</c:v>
                </c:pt>
                <c:pt idx="217">
                  <c:v>3045</c:v>
                </c:pt>
                <c:pt idx="218">
                  <c:v>2869</c:v>
                </c:pt>
                <c:pt idx="219">
                  <c:v>2690</c:v>
                </c:pt>
                <c:pt idx="220">
                  <c:v>2418</c:v>
                </c:pt>
                <c:pt idx="221">
                  <c:v>2323</c:v>
                </c:pt>
                <c:pt idx="222">
                  <c:v>2338</c:v>
                </c:pt>
                <c:pt idx="223">
                  <c:v>2332</c:v>
                </c:pt>
                <c:pt idx="224">
                  <c:v>2238</c:v>
                </c:pt>
                <c:pt idx="225">
                  <c:v>2108</c:v>
                </c:pt>
                <c:pt idx="226">
                  <c:v>1931</c:v>
                </c:pt>
                <c:pt idx="227">
                  <c:v>1785</c:v>
                </c:pt>
                <c:pt idx="228">
                  <c:v>1749</c:v>
                </c:pt>
                <c:pt idx="229">
                  <c:v>1756</c:v>
                </c:pt>
                <c:pt idx="230">
                  <c:v>1811</c:v>
                </c:pt>
                <c:pt idx="231">
                  <c:v>1709</c:v>
                </c:pt>
                <c:pt idx="232">
                  <c:v>1615</c:v>
                </c:pt>
                <c:pt idx="233">
                  <c:v>1530</c:v>
                </c:pt>
                <c:pt idx="234">
                  <c:v>1430</c:v>
                </c:pt>
                <c:pt idx="235">
                  <c:v>1359</c:v>
                </c:pt>
                <c:pt idx="236">
                  <c:v>1358</c:v>
                </c:pt>
                <c:pt idx="237">
                  <c:v>1308</c:v>
                </c:pt>
                <c:pt idx="238">
                  <c:v>1283</c:v>
                </c:pt>
                <c:pt idx="239">
                  <c:v>1241</c:v>
                </c:pt>
                <c:pt idx="240">
                  <c:v>1189</c:v>
                </c:pt>
                <c:pt idx="241">
                  <c:v>1137</c:v>
                </c:pt>
                <c:pt idx="242">
                  <c:v>1138</c:v>
                </c:pt>
                <c:pt idx="243">
                  <c:v>1130</c:v>
                </c:pt>
                <c:pt idx="244">
                  <c:v>1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BF71-4F3F-B6D3-283E975E68D4}"/>
                </c:ext>
              </c:extLst>
            </c:dLbl>
            <c:dLbl>
              <c:idx val="242"/>
              <c:layout>
                <c:manualLayout>
                  <c:x val="0"/>
                  <c:y val="-6.735856822203083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64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BF71-4F3F-B6D3-283E975E68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B$2:$B$246</c:f>
              <c:numCache>
                <c:formatCode>#,##0</c:formatCode>
                <c:ptCount val="245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C$2:$C$246</c:f>
              <c:numCache>
                <c:formatCode>#,##0</c:formatCode>
                <c:ptCount val="24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D$2:$D$246</c:f>
              <c:numCache>
                <c:formatCode>#,##0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6</c:v>
                </c:pt>
                <c:pt idx="243" formatCode="General">
                  <c:v>17</c:v>
                </c:pt>
                <c:pt idx="244" formatCode="General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4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B$2:$B$246</c:f>
              <c:numCache>
                <c:formatCode>#,##0</c:formatCode>
                <c:ptCount val="245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General">
                  <c:v>49</c:v>
                </c:pt>
                <c:pt idx="244" formatCode="General">
                  <c:v>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C$2:$C$246</c:f>
              <c:numCache>
                <c:formatCode>#,##0</c:formatCode>
                <c:ptCount val="24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D$2:$D$246</c:f>
              <c:numCache>
                <c:formatCode>#,##0</c:formatCode>
                <c:ptCount val="245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4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5</c:v>
                </c:pt>
                <c:pt idx="187">
                  <c:v>1677</c:v>
                </c:pt>
                <c:pt idx="188">
                  <c:v>1773</c:v>
                </c:pt>
                <c:pt idx="189">
                  <c:v>1802</c:v>
                </c:pt>
                <c:pt idx="190">
                  <c:v>1831</c:v>
                </c:pt>
                <c:pt idx="191">
                  <c:v>1821</c:v>
                </c:pt>
                <c:pt idx="192">
                  <c:v>1833</c:v>
                </c:pt>
                <c:pt idx="193">
                  <c:v>1782</c:v>
                </c:pt>
                <c:pt idx="194">
                  <c:v>1829</c:v>
                </c:pt>
                <c:pt idx="195">
                  <c:v>1886</c:v>
                </c:pt>
                <c:pt idx="196">
                  <c:v>1893</c:v>
                </c:pt>
                <c:pt idx="197">
                  <c:v>1861</c:v>
                </c:pt>
                <c:pt idx="198">
                  <c:v>1858</c:v>
                </c:pt>
                <c:pt idx="199">
                  <c:v>1817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4</c:v>
                </c:pt>
                <c:pt idx="204">
                  <c:v>1742</c:v>
                </c:pt>
                <c:pt idx="207">
                  <c:v>1643</c:v>
                </c:pt>
                <c:pt idx="208">
                  <c:v>1653</c:v>
                </c:pt>
                <c:pt idx="209">
                  <c:v>1663</c:v>
                </c:pt>
                <c:pt idx="210">
                  <c:v>1613</c:v>
                </c:pt>
                <c:pt idx="211">
                  <c:v>1554</c:v>
                </c:pt>
                <c:pt idx="212">
                  <c:v>1505</c:v>
                </c:pt>
                <c:pt idx="213">
                  <c:v>1424</c:v>
                </c:pt>
                <c:pt idx="214">
                  <c:v>1399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2</c:v>
                </c:pt>
                <c:pt idx="219">
                  <c:v>1313</c:v>
                </c:pt>
                <c:pt idx="220">
                  <c:v>1235</c:v>
                </c:pt>
                <c:pt idx="221">
                  <c:v>1219</c:v>
                </c:pt>
                <c:pt idx="222">
                  <c:v>1202</c:v>
                </c:pt>
                <c:pt idx="223">
                  <c:v>1188</c:v>
                </c:pt>
                <c:pt idx="224">
                  <c:v>1159</c:v>
                </c:pt>
                <c:pt idx="225">
                  <c:v>1116</c:v>
                </c:pt>
                <c:pt idx="226">
                  <c:v>1037</c:v>
                </c:pt>
                <c:pt idx="227">
                  <c:v>1015</c:v>
                </c:pt>
                <c:pt idx="228">
                  <c:v>975</c:v>
                </c:pt>
                <c:pt idx="229">
                  <c:v>978</c:v>
                </c:pt>
                <c:pt idx="230">
                  <c:v>996</c:v>
                </c:pt>
                <c:pt idx="231">
                  <c:v>945</c:v>
                </c:pt>
                <c:pt idx="232">
                  <c:v>911</c:v>
                </c:pt>
                <c:pt idx="233">
                  <c:v>834</c:v>
                </c:pt>
                <c:pt idx="234">
                  <c:v>787</c:v>
                </c:pt>
                <c:pt idx="235">
                  <c:v>752</c:v>
                </c:pt>
                <c:pt idx="236">
                  <c:v>762</c:v>
                </c:pt>
                <c:pt idx="237">
                  <c:v>740</c:v>
                </c:pt>
                <c:pt idx="238">
                  <c:v>711</c:v>
                </c:pt>
                <c:pt idx="239">
                  <c:v>685</c:v>
                </c:pt>
                <c:pt idx="240">
                  <c:v>626</c:v>
                </c:pt>
                <c:pt idx="241">
                  <c:v>566</c:v>
                </c:pt>
                <c:pt idx="242">
                  <c:v>534</c:v>
                </c:pt>
                <c:pt idx="243" formatCode="General">
                  <c:v>540</c:v>
                </c:pt>
                <c:pt idx="244" formatCode="General">
                  <c:v>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1 58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B$2:$B$246</c:f>
              <c:numCache>
                <c:formatCode>#,##0</c:formatCode>
                <c:ptCount val="245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6</c:f>
              <c:numCache>
                <c:formatCode>m/d/yyyy</c:formatCode>
                <c:ptCount val="24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</c:numCache>
            </c:numRef>
          </c:cat>
          <c:val>
            <c:numRef>
              <c:f>Sheet1!$C$2:$C$246</c:f>
              <c:numCache>
                <c:formatCode>#,##0</c:formatCode>
                <c:ptCount val="24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</a:t>
            </a:r>
            <a:r>
              <a:rPr lang="cs-CZ" sz="3600" b="1" i="1"/>
              <a:t>aktualizace 04.05</a:t>
            </a:r>
            <a:r>
              <a:rPr lang="cs-CZ" sz="3600" b="1" i="1" dirty="0"/>
              <a:t>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8341422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43255726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5296985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19619496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3528560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688720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21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Pohlová Radka Mgr.</cp:lastModifiedBy>
  <cp:revision>642</cp:revision>
  <dcterms:created xsi:type="dcterms:W3CDTF">2020-08-08T14:25:07Z</dcterms:created>
  <dcterms:modified xsi:type="dcterms:W3CDTF">2021-05-04T03:24:50Z</dcterms:modified>
</cp:coreProperties>
</file>